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71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920AACF-31B9-4A1D-98AA-D40F8D90CF55}" type="datetimeFigureOut">
              <a:rPr lang="zh-CN" altLang="en-US" smtClean="0"/>
              <a:t>2025/8/2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312469-50F0-48FD-BB45-C21C71CAA69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151443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65412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7876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7033489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6155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3900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1827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594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0503819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13" Type="http://schemas.openxmlformats.org/officeDocument/2006/relationships/image" Target="../media/image6.svg"/><Relationship Id="rId18" Type="http://schemas.openxmlformats.org/officeDocument/2006/relationships/image" Target="../media/image11.png"/><Relationship Id="rId3" Type="http://schemas.openxmlformats.org/officeDocument/2006/relationships/tags" Target="../tags/tag6.xml"/><Relationship Id="rId21" Type="http://schemas.openxmlformats.org/officeDocument/2006/relationships/image" Target="../media/image14.svg"/><Relationship Id="rId7" Type="http://schemas.openxmlformats.org/officeDocument/2006/relationships/tags" Target="../tags/tag10.xml"/><Relationship Id="rId12" Type="http://schemas.openxmlformats.org/officeDocument/2006/relationships/image" Target="../media/image5.png"/><Relationship Id="rId17" Type="http://schemas.openxmlformats.org/officeDocument/2006/relationships/image" Target="../media/image10.svg"/><Relationship Id="rId2" Type="http://schemas.openxmlformats.org/officeDocument/2006/relationships/tags" Target="../tags/tag5.xml"/><Relationship Id="rId16" Type="http://schemas.openxmlformats.org/officeDocument/2006/relationships/image" Target="../media/image9.png"/><Relationship Id="rId20" Type="http://schemas.openxmlformats.org/officeDocument/2006/relationships/image" Target="../media/image13.png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image" Target="../media/image4.emf"/><Relationship Id="rId5" Type="http://schemas.openxmlformats.org/officeDocument/2006/relationships/tags" Target="../tags/tag8.xml"/><Relationship Id="rId15" Type="http://schemas.openxmlformats.org/officeDocument/2006/relationships/image" Target="../media/image8.svg"/><Relationship Id="rId10" Type="http://schemas.openxmlformats.org/officeDocument/2006/relationships/oleObject" Target="../embeddings/oleObject5.bin"/><Relationship Id="rId19" Type="http://schemas.openxmlformats.org/officeDocument/2006/relationships/image" Target="../media/image12.svg"/><Relationship Id="rId4" Type="http://schemas.openxmlformats.org/officeDocument/2006/relationships/tags" Target="../tags/tag7.xml"/><Relationship Id="rId9" Type="http://schemas.openxmlformats.org/officeDocument/2006/relationships/notesSlide" Target="../notesSlides/notesSlide1.xml"/><Relationship Id="rId1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10" imgW="349" imgH="350" progId="TCLayout.ActiveDocument.1">
                  <p:embed/>
                </p:oleObj>
              </mc:Choice>
              <mc:Fallback>
                <p:oleObj name="think-cell 幻灯片" r:id="rId10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2" name="Freihandform: Form 57">
            <a:extLst>
              <a:ext uri="{FF2B5EF4-FFF2-40B4-BE49-F238E27FC236}">
                <a16:creationId xmlns:a16="http://schemas.microsoft.com/office/drawing/2014/main" id="{8A1C38DB-88C4-107E-098A-FA36094C701F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419100" y="5221398"/>
            <a:ext cx="3220732" cy="836502"/>
          </a:xfrm>
          <a:custGeom>
            <a:avLst/>
            <a:gdLst>
              <a:gd name="connsiteX0" fmla="*/ 428847 w 2297482"/>
              <a:gd name="connsiteY0" fmla="*/ 0 h 750483"/>
              <a:gd name="connsiteX1" fmla="*/ 2297482 w 2297482"/>
              <a:gd name="connsiteY1" fmla="*/ 0 h 750483"/>
              <a:gd name="connsiteX2" fmla="*/ 2297482 w 2297482"/>
              <a:gd name="connsiteY2" fmla="*/ 750483 h 750483"/>
              <a:gd name="connsiteX3" fmla="*/ 0 w 2297482"/>
              <a:gd name="connsiteY3" fmla="*/ 750483 h 750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7482" h="750483">
                <a:moveTo>
                  <a:pt x="428847" y="0"/>
                </a:moveTo>
                <a:lnTo>
                  <a:pt x="2297482" y="0"/>
                </a:lnTo>
                <a:lnTo>
                  <a:pt x="2297482" y="750483"/>
                </a:lnTo>
                <a:lnTo>
                  <a:pt x="0" y="750483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5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" name="Freihandform: Form 53">
            <a:extLst>
              <a:ext uri="{FF2B5EF4-FFF2-40B4-BE49-F238E27FC236}">
                <a16:creationId xmlns:a16="http://schemas.microsoft.com/office/drawing/2014/main" id="{EAB02A35-0D38-856A-432C-9FB0D3A3E50D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1071151" y="4308138"/>
            <a:ext cx="2568681" cy="836502"/>
          </a:xfrm>
          <a:custGeom>
            <a:avLst/>
            <a:gdLst>
              <a:gd name="connsiteX0" fmla="*/ 428847 w 1832347"/>
              <a:gd name="connsiteY0" fmla="*/ 0 h 750483"/>
              <a:gd name="connsiteX1" fmla="*/ 1832347 w 1832347"/>
              <a:gd name="connsiteY1" fmla="*/ 0 h 750483"/>
              <a:gd name="connsiteX2" fmla="*/ 1832347 w 1832347"/>
              <a:gd name="connsiteY2" fmla="*/ 750483 h 750483"/>
              <a:gd name="connsiteX3" fmla="*/ 0 w 1832347"/>
              <a:gd name="connsiteY3" fmla="*/ 750483 h 750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32347" h="750483">
                <a:moveTo>
                  <a:pt x="428847" y="0"/>
                </a:moveTo>
                <a:lnTo>
                  <a:pt x="1832347" y="0"/>
                </a:lnTo>
                <a:lnTo>
                  <a:pt x="1832347" y="750483"/>
                </a:lnTo>
                <a:lnTo>
                  <a:pt x="0" y="750483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5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" name="Freihandform: Form 38">
            <a:extLst>
              <a:ext uri="{FF2B5EF4-FFF2-40B4-BE49-F238E27FC236}">
                <a16:creationId xmlns:a16="http://schemas.microsoft.com/office/drawing/2014/main" id="{FC0E7413-13C4-A1CB-8749-BE3ECD986B38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1727824" y="3393044"/>
            <a:ext cx="1912008" cy="838340"/>
          </a:xfrm>
          <a:custGeom>
            <a:avLst/>
            <a:gdLst>
              <a:gd name="connsiteX0" fmla="*/ 428847 w 1363915"/>
              <a:gd name="connsiteY0" fmla="*/ 0 h 752132"/>
              <a:gd name="connsiteX1" fmla="*/ 1363915 w 1363915"/>
              <a:gd name="connsiteY1" fmla="*/ 0 h 752132"/>
              <a:gd name="connsiteX2" fmla="*/ 1363915 w 1363915"/>
              <a:gd name="connsiteY2" fmla="*/ 752132 h 752132"/>
              <a:gd name="connsiteX3" fmla="*/ 0 w 1363915"/>
              <a:gd name="connsiteY3" fmla="*/ 752132 h 752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63915" h="752132">
                <a:moveTo>
                  <a:pt x="428847" y="0"/>
                </a:moveTo>
                <a:lnTo>
                  <a:pt x="1363915" y="0"/>
                </a:lnTo>
                <a:lnTo>
                  <a:pt x="1363915" y="752132"/>
                </a:lnTo>
                <a:lnTo>
                  <a:pt x="0" y="75213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5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" name="Freihandform: Form 36">
            <a:extLst>
              <a:ext uri="{FF2B5EF4-FFF2-40B4-BE49-F238E27FC236}">
                <a16:creationId xmlns:a16="http://schemas.microsoft.com/office/drawing/2014/main" id="{6E3407EA-7F7A-90D2-F8A6-D61F7027982F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2386809" y="2479787"/>
            <a:ext cx="1253022" cy="836502"/>
          </a:xfrm>
          <a:custGeom>
            <a:avLst/>
            <a:gdLst>
              <a:gd name="connsiteX0" fmla="*/ 428847 w 893833"/>
              <a:gd name="connsiteY0" fmla="*/ 0 h 750483"/>
              <a:gd name="connsiteX1" fmla="*/ 893833 w 893833"/>
              <a:gd name="connsiteY1" fmla="*/ 0 h 750483"/>
              <a:gd name="connsiteX2" fmla="*/ 893833 w 893833"/>
              <a:gd name="connsiteY2" fmla="*/ 750483 h 750483"/>
              <a:gd name="connsiteX3" fmla="*/ 0 w 893833"/>
              <a:gd name="connsiteY3" fmla="*/ 750483 h 750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3833" h="750483">
                <a:moveTo>
                  <a:pt x="428847" y="0"/>
                </a:moveTo>
                <a:lnTo>
                  <a:pt x="893833" y="0"/>
                </a:lnTo>
                <a:lnTo>
                  <a:pt x="893833" y="750483"/>
                </a:lnTo>
                <a:lnTo>
                  <a:pt x="0" y="75048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5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" name="Freihandform: Form 34">
            <a:extLst>
              <a:ext uri="{FF2B5EF4-FFF2-40B4-BE49-F238E27FC236}">
                <a16:creationId xmlns:a16="http://schemas.microsoft.com/office/drawing/2014/main" id="{362BA81C-C093-22EA-CD35-FB3D9D40C1D0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3038857" y="1566817"/>
            <a:ext cx="600974" cy="836215"/>
          </a:xfrm>
          <a:custGeom>
            <a:avLst/>
            <a:gdLst>
              <a:gd name="connsiteX0" fmla="*/ 428700 w 428700"/>
              <a:gd name="connsiteY0" fmla="*/ 0 h 750226"/>
              <a:gd name="connsiteX1" fmla="*/ 428700 w 428700"/>
              <a:gd name="connsiteY1" fmla="*/ 750226 h 750226"/>
              <a:gd name="connsiteX2" fmla="*/ 0 w 428700"/>
              <a:gd name="connsiteY2" fmla="*/ 750226 h 750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28700" h="750226">
                <a:moveTo>
                  <a:pt x="428700" y="0"/>
                </a:moveTo>
                <a:lnTo>
                  <a:pt x="428700" y="750226"/>
                </a:lnTo>
                <a:lnTo>
                  <a:pt x="0" y="75022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5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0460DD8F-1C00-BA29-6773-7F50D11AACB1}"/>
              </a:ext>
            </a:extLst>
          </p:cNvPr>
          <p:cNvSpPr txBox="1">
            <a:spLocks/>
          </p:cNvSpPr>
          <p:nvPr/>
        </p:nvSpPr>
        <p:spPr>
          <a:xfrm>
            <a:off x="3940181" y="1754092"/>
            <a:ext cx="6387064" cy="46166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}</a:t>
            </a:r>
          </a:p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Open Sans Light" panose="020B0306030504020204" pitchFamily="34" charset="0"/>
                <a:cs typeface="Open Sans Light" panose="020B0306030504020204" pitchFamily="34" charset="0"/>
              </a:rPr>
              <a:t>{bullet_1_content} </a:t>
            </a:r>
          </a:p>
        </p:txBody>
      </p:sp>
      <p:pic>
        <p:nvPicPr>
          <p:cNvPr id="11" name="Grafik 50">
            <a:extLst>
              <a:ext uri="{FF2B5EF4-FFF2-40B4-BE49-F238E27FC236}">
                <a16:creationId xmlns:a16="http://schemas.microsoft.com/office/drawing/2014/main" id="{DD997083-3C38-49CB-1048-0FC5015DDA2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276156" y="5365956"/>
            <a:ext cx="547385" cy="547385"/>
          </a:xfrm>
          <a:prstGeom prst="rect">
            <a:avLst/>
          </a:prstGeom>
        </p:spPr>
      </p:pic>
      <p:pic>
        <p:nvPicPr>
          <p:cNvPr id="12" name="Grafik 52">
            <a:extLst>
              <a:ext uri="{FF2B5EF4-FFF2-40B4-BE49-F238E27FC236}">
                <a16:creationId xmlns:a16="http://schemas.microsoft.com/office/drawing/2014/main" id="{8D0AA31E-5E5A-A39A-126C-0E39A8A44D32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1276156" y="4452276"/>
            <a:ext cx="547385" cy="547385"/>
          </a:xfrm>
          <a:prstGeom prst="rect">
            <a:avLst/>
          </a:prstGeom>
        </p:spPr>
      </p:pic>
      <p:pic>
        <p:nvPicPr>
          <p:cNvPr id="13" name="Grafik 54">
            <a:extLst>
              <a:ext uri="{FF2B5EF4-FFF2-40B4-BE49-F238E27FC236}">
                <a16:creationId xmlns:a16="http://schemas.microsoft.com/office/drawing/2014/main" id="{52A13A37-1809-D27C-0CAC-8FFDF3AD0D9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1276156" y="3538595"/>
            <a:ext cx="547385" cy="547385"/>
          </a:xfrm>
          <a:prstGeom prst="rect">
            <a:avLst/>
          </a:prstGeom>
        </p:spPr>
      </p:pic>
      <p:pic>
        <p:nvPicPr>
          <p:cNvPr id="14" name="Grafik 56">
            <a:extLst>
              <a:ext uri="{FF2B5EF4-FFF2-40B4-BE49-F238E27FC236}">
                <a16:creationId xmlns:a16="http://schemas.microsoft.com/office/drawing/2014/main" id="{198B0C2D-1AA6-C2AF-3FE7-DD37010B1189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1276156" y="2624913"/>
            <a:ext cx="547385" cy="547385"/>
          </a:xfrm>
          <a:prstGeom prst="rect">
            <a:avLst/>
          </a:prstGeom>
        </p:spPr>
      </p:pic>
      <p:pic>
        <p:nvPicPr>
          <p:cNvPr id="15" name="Grafik 58">
            <a:extLst>
              <a:ext uri="{FF2B5EF4-FFF2-40B4-BE49-F238E27FC236}">
                <a16:creationId xmlns:a16="http://schemas.microsoft.com/office/drawing/2014/main" id="{3B59C4F1-89B9-7B86-2323-7DA57F09BE7A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1276156" y="1711232"/>
            <a:ext cx="547385" cy="547385"/>
          </a:xfrm>
          <a:prstGeom prst="rect">
            <a:avLst/>
          </a:prstGeom>
        </p:spPr>
      </p:pic>
      <p:cxnSp>
        <p:nvCxnSpPr>
          <p:cNvPr id="16" name="Gerader Verbinder 6">
            <a:extLst>
              <a:ext uri="{FF2B5EF4-FFF2-40B4-BE49-F238E27FC236}">
                <a16:creationId xmlns:a16="http://schemas.microsoft.com/office/drawing/2014/main" id="{16B8808E-4A99-43FD-EA3D-7E6D5503A4A9}"/>
              </a:ext>
            </a:extLst>
          </p:cNvPr>
          <p:cNvCxnSpPr>
            <a:cxnSpLocks/>
          </p:cNvCxnSpPr>
          <p:nvPr/>
        </p:nvCxnSpPr>
        <p:spPr>
          <a:xfrm>
            <a:off x="3738490" y="2441410"/>
            <a:ext cx="8082035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46">
            <a:extLst>
              <a:ext uri="{FF2B5EF4-FFF2-40B4-BE49-F238E27FC236}">
                <a16:creationId xmlns:a16="http://schemas.microsoft.com/office/drawing/2014/main" id="{087E27E7-8F05-8FC5-60E3-D8B35DEF704C}"/>
              </a:ext>
            </a:extLst>
          </p:cNvPr>
          <p:cNvCxnSpPr>
            <a:cxnSpLocks/>
          </p:cNvCxnSpPr>
          <p:nvPr/>
        </p:nvCxnSpPr>
        <p:spPr>
          <a:xfrm>
            <a:off x="3738490" y="3354667"/>
            <a:ext cx="8082035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47">
            <a:extLst>
              <a:ext uri="{FF2B5EF4-FFF2-40B4-BE49-F238E27FC236}">
                <a16:creationId xmlns:a16="http://schemas.microsoft.com/office/drawing/2014/main" id="{CE47E071-4059-9967-7437-0F2C84E00946}"/>
              </a:ext>
            </a:extLst>
          </p:cNvPr>
          <p:cNvCxnSpPr>
            <a:cxnSpLocks/>
          </p:cNvCxnSpPr>
          <p:nvPr/>
        </p:nvCxnSpPr>
        <p:spPr>
          <a:xfrm>
            <a:off x="3738490" y="4269761"/>
            <a:ext cx="8082035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49">
            <a:extLst>
              <a:ext uri="{FF2B5EF4-FFF2-40B4-BE49-F238E27FC236}">
                <a16:creationId xmlns:a16="http://schemas.microsoft.com/office/drawing/2014/main" id="{8856E04D-056D-0DB2-5710-31AD54FA7C53}"/>
              </a:ext>
            </a:extLst>
          </p:cNvPr>
          <p:cNvCxnSpPr>
            <a:cxnSpLocks/>
          </p:cNvCxnSpPr>
          <p:nvPr/>
        </p:nvCxnSpPr>
        <p:spPr>
          <a:xfrm>
            <a:off x="3738490" y="5183018"/>
            <a:ext cx="8082035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ubtitle 2">
            <a:extLst>
              <a:ext uri="{FF2B5EF4-FFF2-40B4-BE49-F238E27FC236}">
                <a16:creationId xmlns:a16="http://schemas.microsoft.com/office/drawing/2014/main" id="{C14FFBF0-6E91-4FE4-C187-34C5C7CFF157}"/>
              </a:ext>
            </a:extLst>
          </p:cNvPr>
          <p:cNvSpPr txBox="1">
            <a:spLocks/>
          </p:cNvSpPr>
          <p:nvPr/>
        </p:nvSpPr>
        <p:spPr>
          <a:xfrm>
            <a:off x="3940181" y="5408817"/>
            <a:ext cx="6387064" cy="46166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 defTabSz="914400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600" b="1" dirty="0">
                <a:solidFill>
                  <a:srgbClr val="03522D"/>
                </a:solidFill>
                <a:latin typeface="理想品牌字体 2022"/>
                <a:cs typeface="+mn-cs"/>
                <a:sym typeface="Futura"/>
              </a:rPr>
              <a:t>{bullet_5}</a:t>
            </a:r>
          </a:p>
          <a:p>
            <a:pPr lvl="0" algn="l">
              <a:lnSpc>
                <a:spcPct val="100000"/>
              </a:lnSpc>
              <a:spcBef>
                <a:spcPts val="0"/>
              </a:spcBef>
              <a:defRPr/>
            </a:pPr>
            <a:r>
              <a:rPr lang="en-US" altLang="zh-CN" sz="1400">
                <a:solidFill>
                  <a:srgbClr val="575757"/>
                </a:solidFill>
                <a:latin typeface="理想品牌字体 2022"/>
                <a:ea typeface="Open Sans Light" panose="020B0306030504020204" pitchFamily="34" charset="0"/>
                <a:cs typeface="Open Sans Light" panose="020B0306030504020204" pitchFamily="34" charset="0"/>
              </a:rPr>
              <a:t>{bullet_5_</a:t>
            </a:r>
            <a:r>
              <a:rPr lang="en-US" altLang="zh-CN" sz="1400" dirty="0">
                <a:solidFill>
                  <a:srgbClr val="575757"/>
                </a:solidFill>
                <a:latin typeface="理想品牌字体 2022"/>
                <a:ea typeface="Open Sans Light" panose="020B0306030504020204" pitchFamily="34" charset="0"/>
                <a:cs typeface="Open Sans Light" panose="020B0306030504020204" pitchFamily="34" charset="0"/>
              </a:rPr>
              <a:t>content} </a:t>
            </a: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8CB36DBB-7D52-66AA-C18A-E3B182F168C4}"/>
              </a:ext>
            </a:extLst>
          </p:cNvPr>
          <p:cNvSpPr txBox="1">
            <a:spLocks/>
          </p:cNvSpPr>
          <p:nvPr/>
        </p:nvSpPr>
        <p:spPr>
          <a:xfrm>
            <a:off x="3940181" y="4495136"/>
            <a:ext cx="6387064" cy="46166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 defTabSz="914400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600" b="1" dirty="0">
                <a:solidFill>
                  <a:srgbClr val="03522D"/>
                </a:solidFill>
                <a:latin typeface="理想品牌字体 2022"/>
                <a:cs typeface="+mn-cs"/>
                <a:sym typeface="Futura"/>
              </a:rPr>
              <a:t>{bullet_4}</a:t>
            </a:r>
          </a:p>
          <a:p>
            <a:pPr lvl="0" algn="l">
              <a:lnSpc>
                <a:spcPct val="100000"/>
              </a:lnSpc>
              <a:spcBef>
                <a:spcPts val="0"/>
              </a:spcBef>
              <a:defRPr/>
            </a:pPr>
            <a:r>
              <a:rPr lang="en-US" altLang="zh-CN" sz="1400" dirty="0">
                <a:solidFill>
                  <a:srgbClr val="575757"/>
                </a:solidFill>
                <a:latin typeface="理想品牌字体 2022"/>
                <a:ea typeface="Open Sans Light" panose="020B0306030504020204" pitchFamily="34" charset="0"/>
                <a:cs typeface="Open Sans Light" panose="020B0306030504020204" pitchFamily="34" charset="0"/>
              </a:rPr>
              <a:t>{bullet_4_content} 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F0C3B21D-5D75-7F13-C31B-1FEF51F2E13F}"/>
              </a:ext>
            </a:extLst>
          </p:cNvPr>
          <p:cNvSpPr txBox="1">
            <a:spLocks/>
          </p:cNvSpPr>
          <p:nvPr/>
        </p:nvSpPr>
        <p:spPr>
          <a:xfrm>
            <a:off x="3940181" y="3581455"/>
            <a:ext cx="6387064" cy="46166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 defTabSz="914400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600" b="1" dirty="0">
                <a:solidFill>
                  <a:srgbClr val="03522D"/>
                </a:solidFill>
                <a:latin typeface="理想品牌字体 2022"/>
                <a:cs typeface="+mn-cs"/>
                <a:sym typeface="Futura"/>
              </a:rPr>
              <a:t>{bullet_3}</a:t>
            </a:r>
          </a:p>
          <a:p>
            <a:pPr lvl="0" algn="l">
              <a:lnSpc>
                <a:spcPct val="100000"/>
              </a:lnSpc>
              <a:spcBef>
                <a:spcPts val="0"/>
              </a:spcBef>
              <a:defRPr/>
            </a:pPr>
            <a:r>
              <a:rPr lang="en-US" altLang="zh-CN" sz="1400" dirty="0">
                <a:solidFill>
                  <a:srgbClr val="575757"/>
                </a:solidFill>
                <a:latin typeface="理想品牌字体 2022"/>
                <a:ea typeface="Open Sans Light" panose="020B0306030504020204" pitchFamily="34" charset="0"/>
                <a:cs typeface="Open Sans Light" panose="020B0306030504020204" pitchFamily="34" charset="0"/>
              </a:rPr>
              <a:t>{bullet_3_content} 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B623D87D-4696-894E-30D0-2C36A06D01DA}"/>
              </a:ext>
            </a:extLst>
          </p:cNvPr>
          <p:cNvSpPr txBox="1">
            <a:spLocks/>
          </p:cNvSpPr>
          <p:nvPr/>
        </p:nvSpPr>
        <p:spPr>
          <a:xfrm>
            <a:off x="3940181" y="2667774"/>
            <a:ext cx="6387064" cy="46166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 defTabSz="914400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defRPr/>
            </a:pPr>
            <a:r>
              <a:rPr lang="en-US" altLang="zh-CN" sz="1600" b="1" dirty="0">
                <a:solidFill>
                  <a:srgbClr val="03522D"/>
                </a:solidFill>
                <a:latin typeface="理想品牌字体 2022"/>
                <a:cs typeface="+mn-cs"/>
                <a:sym typeface="Futura"/>
              </a:rPr>
              <a:t>{bullet_2}</a:t>
            </a:r>
          </a:p>
          <a:p>
            <a:pPr lvl="0" algn="l">
              <a:lnSpc>
                <a:spcPct val="100000"/>
              </a:lnSpc>
              <a:spcBef>
                <a:spcPts val="0"/>
              </a:spcBef>
              <a:defRPr/>
            </a:pPr>
            <a:r>
              <a:rPr lang="en-US" altLang="zh-CN" sz="1400" dirty="0">
                <a:solidFill>
                  <a:srgbClr val="575757"/>
                </a:solidFill>
                <a:latin typeface="理想品牌字体 2022"/>
                <a:ea typeface="Open Sans Light" panose="020B0306030504020204" pitchFamily="34" charset="0"/>
                <a:cs typeface="Open Sans Light" panose="020B0306030504020204" pitchFamily="34" charset="0"/>
              </a:rPr>
              <a:t>{bullet_2_content} 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1B9D71E1-AC51-136B-557D-87881A6486EB}"/>
              </a:ext>
            </a:extLst>
          </p:cNvPr>
          <p:cNvSpPr txBox="1">
            <a:spLocks/>
          </p:cNvSpPr>
          <p:nvPr/>
        </p:nvSpPr>
        <p:spPr>
          <a:xfrm>
            <a:off x="3160308" y="2111502"/>
            <a:ext cx="419555" cy="24622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01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Open Sans Light" panose="020B0306030504020204" pitchFamily="34" charset="0"/>
              <a:cs typeface="+mn-cs"/>
            </a:endParaRPr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972094FD-079E-732B-1B48-F737F808809D}"/>
              </a:ext>
            </a:extLst>
          </p:cNvPr>
          <p:cNvSpPr txBox="1">
            <a:spLocks/>
          </p:cNvSpPr>
          <p:nvPr/>
        </p:nvSpPr>
        <p:spPr>
          <a:xfrm>
            <a:off x="3160308" y="5766226"/>
            <a:ext cx="419555" cy="24622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05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Open Sans Light" panose="020B0306030504020204" pitchFamily="34" charset="0"/>
              <a:cs typeface="+mn-cs"/>
            </a:endParaRPr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66BF4905-7EBC-B35C-D6BB-EFA4456EC8B9}"/>
              </a:ext>
            </a:extLst>
          </p:cNvPr>
          <p:cNvSpPr txBox="1">
            <a:spLocks/>
          </p:cNvSpPr>
          <p:nvPr/>
        </p:nvSpPr>
        <p:spPr>
          <a:xfrm>
            <a:off x="3160308" y="4852545"/>
            <a:ext cx="419555" cy="24622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04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Open Sans Light" panose="020B0306030504020204" pitchFamily="34" charset="0"/>
              <a:cs typeface="+mn-cs"/>
            </a:endParaRPr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0B2CB35B-3E1B-A790-753E-8EFE021D2A01}"/>
              </a:ext>
            </a:extLst>
          </p:cNvPr>
          <p:cNvSpPr txBox="1">
            <a:spLocks/>
          </p:cNvSpPr>
          <p:nvPr/>
        </p:nvSpPr>
        <p:spPr>
          <a:xfrm>
            <a:off x="3160308" y="3938864"/>
            <a:ext cx="419555" cy="24622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03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Open Sans Light" panose="020B0306030504020204" pitchFamily="34" charset="0"/>
              <a:cs typeface="+mn-cs"/>
            </a:endParaRP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54117504-8554-BF0B-4620-A20F07D97C70}"/>
              </a:ext>
            </a:extLst>
          </p:cNvPr>
          <p:cNvSpPr txBox="1">
            <a:spLocks/>
          </p:cNvSpPr>
          <p:nvPr/>
        </p:nvSpPr>
        <p:spPr>
          <a:xfrm>
            <a:off x="3160308" y="3025183"/>
            <a:ext cx="419555" cy="24622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02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Open Sans Light" panose="020B0306030504020204" pitchFamily="34" charset="0"/>
              <a:cs typeface="+mn-cs"/>
            </a:endParaRPr>
          </a:p>
        </p:txBody>
      </p:sp>
      <p:sp>
        <p:nvSpPr>
          <p:cNvPr id="29" name="Subtitle 2">
            <a:extLst>
              <a:ext uri="{FF2B5EF4-FFF2-40B4-BE49-F238E27FC236}">
                <a16:creationId xmlns:a16="http://schemas.microsoft.com/office/drawing/2014/main" id="{6B222D3A-F9A1-F436-409A-1DAEA87DA026}"/>
              </a:ext>
            </a:extLst>
          </p:cNvPr>
          <p:cNvSpPr txBox="1">
            <a:spLocks/>
          </p:cNvSpPr>
          <p:nvPr/>
        </p:nvSpPr>
        <p:spPr>
          <a:xfrm>
            <a:off x="419100" y="1557338"/>
            <a:ext cx="2227826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Open Sans Light" panose="020B0306030504020204" pitchFamily="34" charset="0"/>
                <a:cs typeface="Open Sans Light" panose="020B0306030504020204" pitchFamily="34" charset="0"/>
              </a:rPr>
              <a:t>{summary}</a:t>
            </a: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D513583F-F304-2FB7-E9D4-589F74B06137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17206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pyramids, layer, icon, icons</a:t>
            </a:r>
          </a:p>
        </p:txBody>
      </p:sp>
    </p:spTree>
    <p:extLst>
      <p:ext uri="{BB962C8B-B14F-4D97-AF65-F5344CB8AC3E}">
        <p14:creationId xmlns:p14="http://schemas.microsoft.com/office/powerpoint/2010/main" val="10725754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5</Words>
  <Application>Microsoft Office PowerPoint</Application>
  <PresentationFormat>宽屏</PresentationFormat>
  <Paragraphs>18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1" baseType="lpstr">
      <vt:lpstr>Futura</vt:lpstr>
      <vt:lpstr>LiciumFont 2022 Bold</vt:lpstr>
      <vt:lpstr>Open Sans Light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8-28T09:51:08Z</dcterms:created>
  <dcterms:modified xsi:type="dcterms:W3CDTF">2025-08-28T09:52:08Z</dcterms:modified>
</cp:coreProperties>
</file>